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4"/>
  </p:notesMasterIdLst>
  <p:handoutMasterIdLst>
    <p:handoutMasterId r:id="rId5"/>
  </p:handoutMasterIdLst>
  <p:sldIdLst>
    <p:sldId id="311" r:id="rId2"/>
    <p:sldId id="340" r:id="rId3"/>
  </p:sldIdLst>
  <p:sldSz cx="9906000" cy="6858000" type="A4"/>
  <p:notesSz cx="6896100" cy="10033000"/>
  <p:custDataLst>
    <p:tags r:id="rId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3857" autoAdjust="0"/>
  </p:normalViewPr>
  <p:slideViewPr>
    <p:cSldViewPr>
      <p:cViewPr>
        <p:scale>
          <a:sx n="80" d="100"/>
          <a:sy n="80" d="100"/>
        </p:scale>
        <p:origin x="-168" y="348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19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agenda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_agenda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smtClean="0"/>
              <a:t>Agenda WKS RoboCap</a:t>
            </a:r>
            <a:endParaRPr lang="en-US" sz="6000" b="1" dirty="0"/>
          </a:p>
        </p:txBody>
      </p:sp>
      <p:pic>
        <p:nvPicPr>
          <p:cNvPr id="75780" name="Picture 4" descr="http://noa-labs.com/wp-content/uploads/2013/01/Logo_Makeblock_400x40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52750" y="0"/>
            <a:ext cx="1929600" cy="19296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Agend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_agenda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8713210" cy="47526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Podział na grupy 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3-4 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osobowe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Świat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Świat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IDE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CodeBlock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IDE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(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buzzer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IrDA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, sonar, czujnik wykrywania linii)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Roboty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line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follower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Silniki –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Budujemy własny czujnik linii (opcjonalnie)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Praca w zespołach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Zawody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3</Words>
  <Application>Microsoft Office PowerPoint</Application>
  <PresentationFormat>A4 Paper (210x297 mm)</PresentationFormat>
  <Paragraphs>17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Blank</vt:lpstr>
      <vt:lpstr>think-cell Slide</vt:lpstr>
      <vt:lpstr>Agenda WKS RoboCap</vt:lpstr>
      <vt:lpstr>Agenda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227</cp:revision>
  <dcterms:created xsi:type="dcterms:W3CDTF">2014-10-21T19:55:20Z</dcterms:created>
  <dcterms:modified xsi:type="dcterms:W3CDTF">2015-06-19T08:42:54Z</dcterms:modified>
</cp:coreProperties>
</file>